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62C199-4222-E3F9-5545-255DFDB822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9BE1D62B-6C20-E48B-AE64-FCB63B189F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E1D62B-6C20-E48B-AE64-FCB63B189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60F8C0-8C58-64B1-B99C-2ED44E634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B5299A-43FD-239E-D222-0B31263FA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0F34361-AEBD-032B-95A9-D2E66BC9F8DF}"/>
              </a:ext>
            </a:extLst>
          </p:cNvPr>
          <p:cNvGrpSpPr/>
          <p:nvPr/>
        </p:nvGrpSpPr>
        <p:grpSpPr>
          <a:xfrm>
            <a:off x="1379614" y="1454962"/>
            <a:ext cx="5237779" cy="623537"/>
            <a:chOff x="5138982" y="3547585"/>
            <a:chExt cx="2638320" cy="62353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2AE428E-2BA2-D799-F2D5-85B134CB9B81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5BEB348-84CA-B4B4-3738-BBE548760EE5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A0B2AA0-73AB-E0F5-9910-9F7840401014}"/>
              </a:ext>
            </a:extLst>
          </p:cNvPr>
          <p:cNvGrpSpPr/>
          <p:nvPr/>
        </p:nvGrpSpPr>
        <p:grpSpPr>
          <a:xfrm>
            <a:off x="1379614" y="2436249"/>
            <a:ext cx="5237779" cy="623537"/>
            <a:chOff x="5138982" y="3547585"/>
            <a:chExt cx="2638320" cy="62353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FBA2C6B-2AC4-C94B-768D-DAD8811564ED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CB793B1-C24E-9C0F-4CDE-A1FF3CB1D310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422C400-1B80-AE73-CC78-53F42A3128F9}"/>
              </a:ext>
            </a:extLst>
          </p:cNvPr>
          <p:cNvGrpSpPr/>
          <p:nvPr/>
        </p:nvGrpSpPr>
        <p:grpSpPr>
          <a:xfrm>
            <a:off x="1379614" y="3417536"/>
            <a:ext cx="5237779" cy="623537"/>
            <a:chOff x="5138982" y="3547585"/>
            <a:chExt cx="2638320" cy="62353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BC3331A-650A-D915-ACCC-58840D4583E5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8369F5E-94C1-E77C-050F-789ECE42BB31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AFD62AC-A25F-6ED7-5BF0-63D3FF563E50}"/>
              </a:ext>
            </a:extLst>
          </p:cNvPr>
          <p:cNvGrpSpPr/>
          <p:nvPr/>
        </p:nvGrpSpPr>
        <p:grpSpPr>
          <a:xfrm>
            <a:off x="1379614" y="5380109"/>
            <a:ext cx="5237779" cy="623537"/>
            <a:chOff x="5138982" y="3547585"/>
            <a:chExt cx="2638320" cy="62353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6D84CBA-CF53-42F4-1482-F1D1D555D519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AA1000A-80EA-ACB6-576A-F13572CF800A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477DEB7-673E-7632-CFD0-5ABAB4C7EC55}"/>
              </a:ext>
            </a:extLst>
          </p:cNvPr>
          <p:cNvGrpSpPr/>
          <p:nvPr/>
        </p:nvGrpSpPr>
        <p:grpSpPr>
          <a:xfrm>
            <a:off x="1379614" y="4398823"/>
            <a:ext cx="5237779" cy="623537"/>
            <a:chOff x="5138982" y="3547585"/>
            <a:chExt cx="2638320" cy="623537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0D03861-845F-8650-8837-497545B1BFDB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547585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Titl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29CA51-5C55-20A2-4379-B306FB058A3E}"/>
                </a:ext>
              </a:extLst>
            </p:cNvPr>
            <p:cNvSpPr txBox="1">
              <a:spLocks/>
            </p:cNvSpPr>
            <p:nvPr/>
          </p:nvSpPr>
          <p:spPr>
            <a:xfrm>
              <a:off x="5138982" y="3924901"/>
              <a:ext cx="263832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Insert Text Here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F5887B1-2F6E-649E-7E43-2C2F734F8F75}"/>
              </a:ext>
            </a:extLst>
          </p:cNvPr>
          <p:cNvGrpSpPr/>
          <p:nvPr/>
        </p:nvGrpSpPr>
        <p:grpSpPr>
          <a:xfrm>
            <a:off x="550862" y="1447915"/>
            <a:ext cx="603372" cy="601760"/>
            <a:chOff x="454269" y="1828800"/>
            <a:chExt cx="839005" cy="836765"/>
          </a:xfrm>
        </p:grpSpPr>
        <p:sp>
          <p:nvSpPr>
            <p:cNvPr id="21" name="Freeform 48">
              <a:extLst>
                <a:ext uri="{FF2B5EF4-FFF2-40B4-BE49-F238E27FC236}">
                  <a16:creationId xmlns:a16="http://schemas.microsoft.com/office/drawing/2014/main" id="{9004A44E-47E3-22C9-B977-003BC661EA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269" y="1828800"/>
              <a:ext cx="839005" cy="836765"/>
            </a:xfrm>
            <a:custGeom>
              <a:avLst/>
              <a:gdLst>
                <a:gd name="T0" fmla="*/ 151 w 158"/>
                <a:gd name="T1" fmla="*/ 64 h 158"/>
                <a:gd name="T2" fmla="*/ 137 w 158"/>
                <a:gd name="T3" fmla="*/ 60 h 158"/>
                <a:gd name="T4" fmla="*/ 133 w 158"/>
                <a:gd name="T5" fmla="*/ 51 h 158"/>
                <a:gd name="T6" fmla="*/ 141 w 158"/>
                <a:gd name="T7" fmla="*/ 39 h 158"/>
                <a:gd name="T8" fmla="*/ 139 w 158"/>
                <a:gd name="T9" fmla="*/ 26 h 158"/>
                <a:gd name="T10" fmla="*/ 132 w 158"/>
                <a:gd name="T11" fmla="*/ 19 h 158"/>
                <a:gd name="T12" fmla="*/ 119 w 158"/>
                <a:gd name="T13" fmla="*/ 18 h 158"/>
                <a:gd name="T14" fmla="*/ 107 w 158"/>
                <a:gd name="T15" fmla="*/ 25 h 158"/>
                <a:gd name="T16" fmla="*/ 98 w 158"/>
                <a:gd name="T17" fmla="*/ 21 h 158"/>
                <a:gd name="T18" fmla="*/ 95 w 158"/>
                <a:gd name="T19" fmla="*/ 7 h 158"/>
                <a:gd name="T20" fmla="*/ 84 w 158"/>
                <a:gd name="T21" fmla="*/ 0 h 158"/>
                <a:gd name="T22" fmla="*/ 74 w 158"/>
                <a:gd name="T23" fmla="*/ 0 h 158"/>
                <a:gd name="T24" fmla="*/ 64 w 158"/>
                <a:gd name="T25" fmla="*/ 7 h 158"/>
                <a:gd name="T26" fmla="*/ 61 w 158"/>
                <a:gd name="T27" fmla="*/ 21 h 158"/>
                <a:gd name="T28" fmla="*/ 52 w 158"/>
                <a:gd name="T29" fmla="*/ 25 h 158"/>
                <a:gd name="T30" fmla="*/ 40 w 158"/>
                <a:gd name="T31" fmla="*/ 18 h 158"/>
                <a:gd name="T32" fmla="*/ 27 w 158"/>
                <a:gd name="T33" fmla="*/ 19 h 158"/>
                <a:gd name="T34" fmla="*/ 20 w 158"/>
                <a:gd name="T35" fmla="*/ 26 h 158"/>
                <a:gd name="T36" fmla="*/ 18 w 158"/>
                <a:gd name="T37" fmla="*/ 39 h 158"/>
                <a:gd name="T38" fmla="*/ 26 w 158"/>
                <a:gd name="T39" fmla="*/ 51 h 158"/>
                <a:gd name="T40" fmla="*/ 22 w 158"/>
                <a:gd name="T41" fmla="*/ 60 h 158"/>
                <a:gd name="T42" fmla="*/ 8 w 158"/>
                <a:gd name="T43" fmla="*/ 64 h 158"/>
                <a:gd name="T44" fmla="*/ 0 w 158"/>
                <a:gd name="T45" fmla="*/ 74 h 158"/>
                <a:gd name="T46" fmla="*/ 0 w 158"/>
                <a:gd name="T47" fmla="*/ 84 h 158"/>
                <a:gd name="T48" fmla="*/ 8 w 158"/>
                <a:gd name="T49" fmla="*/ 94 h 158"/>
                <a:gd name="T50" fmla="*/ 22 w 158"/>
                <a:gd name="T51" fmla="*/ 98 h 158"/>
                <a:gd name="T52" fmla="*/ 26 w 158"/>
                <a:gd name="T53" fmla="*/ 106 h 158"/>
                <a:gd name="T54" fmla="*/ 18 w 158"/>
                <a:gd name="T55" fmla="*/ 118 h 158"/>
                <a:gd name="T56" fmla="*/ 20 w 158"/>
                <a:gd name="T57" fmla="*/ 131 h 158"/>
                <a:gd name="T58" fmla="*/ 27 w 158"/>
                <a:gd name="T59" fmla="*/ 138 h 158"/>
                <a:gd name="T60" fmla="*/ 40 w 158"/>
                <a:gd name="T61" fmla="*/ 140 h 158"/>
                <a:gd name="T62" fmla="*/ 52 w 158"/>
                <a:gd name="T63" fmla="*/ 133 h 158"/>
                <a:gd name="T64" fmla="*/ 61 w 158"/>
                <a:gd name="T65" fmla="*/ 136 h 158"/>
                <a:gd name="T66" fmla="*/ 64 w 158"/>
                <a:gd name="T67" fmla="*/ 150 h 158"/>
                <a:gd name="T68" fmla="*/ 74 w 158"/>
                <a:gd name="T69" fmla="*/ 158 h 158"/>
                <a:gd name="T70" fmla="*/ 84 w 158"/>
                <a:gd name="T71" fmla="*/ 158 h 158"/>
                <a:gd name="T72" fmla="*/ 95 w 158"/>
                <a:gd name="T73" fmla="*/ 150 h 158"/>
                <a:gd name="T74" fmla="*/ 98 w 158"/>
                <a:gd name="T75" fmla="*/ 136 h 158"/>
                <a:gd name="T76" fmla="*/ 107 w 158"/>
                <a:gd name="T77" fmla="*/ 133 h 158"/>
                <a:gd name="T78" fmla="*/ 119 w 158"/>
                <a:gd name="T79" fmla="*/ 140 h 158"/>
                <a:gd name="T80" fmla="*/ 132 w 158"/>
                <a:gd name="T81" fmla="*/ 138 h 158"/>
                <a:gd name="T82" fmla="*/ 139 w 158"/>
                <a:gd name="T83" fmla="*/ 131 h 158"/>
                <a:gd name="T84" fmla="*/ 141 w 158"/>
                <a:gd name="T85" fmla="*/ 118 h 158"/>
                <a:gd name="T86" fmla="*/ 133 w 158"/>
                <a:gd name="T87" fmla="*/ 106 h 158"/>
                <a:gd name="T88" fmla="*/ 137 w 158"/>
                <a:gd name="T89" fmla="*/ 98 h 158"/>
                <a:gd name="T90" fmla="*/ 151 w 158"/>
                <a:gd name="T91" fmla="*/ 94 h 158"/>
                <a:gd name="T92" fmla="*/ 158 w 158"/>
                <a:gd name="T93" fmla="*/ 84 h 158"/>
                <a:gd name="T94" fmla="*/ 158 w 158"/>
                <a:gd name="T95" fmla="*/ 74 h 158"/>
                <a:gd name="T96" fmla="*/ 151 w 158"/>
                <a:gd name="T97" fmla="*/ 64 h 158"/>
                <a:gd name="T98" fmla="*/ 79 w 158"/>
                <a:gd name="T99" fmla="*/ 127 h 158"/>
                <a:gd name="T100" fmla="*/ 32 w 158"/>
                <a:gd name="T101" fmla="*/ 79 h 158"/>
                <a:gd name="T102" fmla="*/ 79 w 158"/>
                <a:gd name="T103" fmla="*/ 31 h 158"/>
                <a:gd name="T104" fmla="*/ 127 w 158"/>
                <a:gd name="T105" fmla="*/ 79 h 158"/>
                <a:gd name="T106" fmla="*/ 79 w 158"/>
                <a:gd name="T107" fmla="*/ 12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8" h="158">
                  <a:moveTo>
                    <a:pt x="151" y="64"/>
                  </a:moveTo>
                  <a:cubicBezTo>
                    <a:pt x="137" y="60"/>
                    <a:pt x="137" y="60"/>
                    <a:pt x="137" y="60"/>
                  </a:cubicBezTo>
                  <a:cubicBezTo>
                    <a:pt x="136" y="57"/>
                    <a:pt x="135" y="54"/>
                    <a:pt x="133" y="51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3" y="35"/>
                    <a:pt x="142" y="30"/>
                    <a:pt x="139" y="26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3" y="15"/>
                    <a:pt x="119" y="18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3"/>
                    <a:pt x="101" y="22"/>
                    <a:pt x="98" y="21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3"/>
                    <a:pt x="89" y="0"/>
                    <a:pt x="8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0" y="0"/>
                    <a:pt x="66" y="3"/>
                    <a:pt x="64" y="7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8" y="22"/>
                    <a:pt x="55" y="23"/>
                    <a:pt x="52" y="25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6" y="15"/>
                    <a:pt x="30" y="16"/>
                    <a:pt x="27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7" y="30"/>
                    <a:pt x="16" y="35"/>
                    <a:pt x="18" y="39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4"/>
                    <a:pt x="23" y="57"/>
                    <a:pt x="22" y="60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5"/>
                    <a:pt x="0" y="69"/>
                    <a:pt x="0" y="7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8"/>
                    <a:pt x="4" y="93"/>
                    <a:pt x="8" y="94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100"/>
                    <a:pt x="24" y="103"/>
                    <a:pt x="26" y="106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6" y="122"/>
                    <a:pt x="17" y="128"/>
                    <a:pt x="20" y="13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41"/>
                    <a:pt x="36" y="142"/>
                    <a:pt x="40" y="140"/>
                  </a:cubicBezTo>
                  <a:cubicBezTo>
                    <a:pt x="52" y="133"/>
                    <a:pt x="52" y="133"/>
                    <a:pt x="52" y="133"/>
                  </a:cubicBezTo>
                  <a:cubicBezTo>
                    <a:pt x="55" y="134"/>
                    <a:pt x="58" y="135"/>
                    <a:pt x="61" y="136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6" y="154"/>
                    <a:pt x="70" y="158"/>
                    <a:pt x="74" y="158"/>
                  </a:cubicBezTo>
                  <a:cubicBezTo>
                    <a:pt x="84" y="158"/>
                    <a:pt x="84" y="158"/>
                    <a:pt x="84" y="158"/>
                  </a:cubicBezTo>
                  <a:cubicBezTo>
                    <a:pt x="89" y="158"/>
                    <a:pt x="93" y="154"/>
                    <a:pt x="95" y="150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1" y="135"/>
                    <a:pt x="104" y="134"/>
                    <a:pt x="107" y="133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3" y="142"/>
                    <a:pt x="129" y="141"/>
                    <a:pt x="132" y="138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42" y="128"/>
                    <a:pt x="143" y="122"/>
                    <a:pt x="141" y="118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5" y="103"/>
                    <a:pt x="136" y="100"/>
                    <a:pt x="137" y="98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5" y="93"/>
                    <a:pt x="158" y="88"/>
                    <a:pt x="158" y="8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69"/>
                    <a:pt x="155" y="65"/>
                    <a:pt x="151" y="64"/>
                  </a:cubicBezTo>
                  <a:close/>
                  <a:moveTo>
                    <a:pt x="79" y="127"/>
                  </a:moveTo>
                  <a:cubicBezTo>
                    <a:pt x="53" y="127"/>
                    <a:pt x="32" y="105"/>
                    <a:pt x="32" y="79"/>
                  </a:cubicBezTo>
                  <a:cubicBezTo>
                    <a:pt x="32" y="52"/>
                    <a:pt x="53" y="31"/>
                    <a:pt x="79" y="31"/>
                  </a:cubicBezTo>
                  <a:cubicBezTo>
                    <a:pt x="106" y="31"/>
                    <a:pt x="127" y="52"/>
                    <a:pt x="127" y="79"/>
                  </a:cubicBezTo>
                  <a:cubicBezTo>
                    <a:pt x="127" y="105"/>
                    <a:pt x="106" y="127"/>
                    <a:pt x="79" y="1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28CC708-0AE8-172C-F560-06FF67E26223}"/>
                </a:ext>
              </a:extLst>
            </p:cNvPr>
            <p:cNvSpPr/>
            <p:nvPr/>
          </p:nvSpPr>
          <p:spPr>
            <a:xfrm>
              <a:off x="604542" y="1977953"/>
              <a:ext cx="538458" cy="538458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01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E1FE3B2-CC72-7452-5DFC-D99287D4AAE8}"/>
              </a:ext>
            </a:extLst>
          </p:cNvPr>
          <p:cNvGrpSpPr/>
          <p:nvPr/>
        </p:nvGrpSpPr>
        <p:grpSpPr>
          <a:xfrm>
            <a:off x="550862" y="2433685"/>
            <a:ext cx="603372" cy="601760"/>
            <a:chOff x="454269" y="1828800"/>
            <a:chExt cx="839005" cy="836765"/>
          </a:xfrm>
        </p:grpSpPr>
        <p:sp>
          <p:nvSpPr>
            <p:cNvPr id="24" name="Freeform 48">
              <a:extLst>
                <a:ext uri="{FF2B5EF4-FFF2-40B4-BE49-F238E27FC236}">
                  <a16:creationId xmlns:a16="http://schemas.microsoft.com/office/drawing/2014/main" id="{74F85D8C-2AEC-093C-703F-BBCA7340C8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269" y="1828800"/>
              <a:ext cx="839005" cy="836765"/>
            </a:xfrm>
            <a:custGeom>
              <a:avLst/>
              <a:gdLst>
                <a:gd name="T0" fmla="*/ 151 w 158"/>
                <a:gd name="T1" fmla="*/ 64 h 158"/>
                <a:gd name="T2" fmla="*/ 137 w 158"/>
                <a:gd name="T3" fmla="*/ 60 h 158"/>
                <a:gd name="T4" fmla="*/ 133 w 158"/>
                <a:gd name="T5" fmla="*/ 51 h 158"/>
                <a:gd name="T6" fmla="*/ 141 w 158"/>
                <a:gd name="T7" fmla="*/ 39 h 158"/>
                <a:gd name="T8" fmla="*/ 139 w 158"/>
                <a:gd name="T9" fmla="*/ 26 h 158"/>
                <a:gd name="T10" fmla="*/ 132 w 158"/>
                <a:gd name="T11" fmla="*/ 19 h 158"/>
                <a:gd name="T12" fmla="*/ 119 w 158"/>
                <a:gd name="T13" fmla="*/ 18 h 158"/>
                <a:gd name="T14" fmla="*/ 107 w 158"/>
                <a:gd name="T15" fmla="*/ 25 h 158"/>
                <a:gd name="T16" fmla="*/ 98 w 158"/>
                <a:gd name="T17" fmla="*/ 21 h 158"/>
                <a:gd name="T18" fmla="*/ 95 w 158"/>
                <a:gd name="T19" fmla="*/ 7 h 158"/>
                <a:gd name="T20" fmla="*/ 84 w 158"/>
                <a:gd name="T21" fmla="*/ 0 h 158"/>
                <a:gd name="T22" fmla="*/ 74 w 158"/>
                <a:gd name="T23" fmla="*/ 0 h 158"/>
                <a:gd name="T24" fmla="*/ 64 w 158"/>
                <a:gd name="T25" fmla="*/ 7 h 158"/>
                <a:gd name="T26" fmla="*/ 61 w 158"/>
                <a:gd name="T27" fmla="*/ 21 h 158"/>
                <a:gd name="T28" fmla="*/ 52 w 158"/>
                <a:gd name="T29" fmla="*/ 25 h 158"/>
                <a:gd name="T30" fmla="*/ 40 w 158"/>
                <a:gd name="T31" fmla="*/ 18 h 158"/>
                <a:gd name="T32" fmla="*/ 27 w 158"/>
                <a:gd name="T33" fmla="*/ 19 h 158"/>
                <a:gd name="T34" fmla="*/ 20 w 158"/>
                <a:gd name="T35" fmla="*/ 26 h 158"/>
                <a:gd name="T36" fmla="*/ 18 w 158"/>
                <a:gd name="T37" fmla="*/ 39 h 158"/>
                <a:gd name="T38" fmla="*/ 26 w 158"/>
                <a:gd name="T39" fmla="*/ 51 h 158"/>
                <a:gd name="T40" fmla="*/ 22 w 158"/>
                <a:gd name="T41" fmla="*/ 60 h 158"/>
                <a:gd name="T42" fmla="*/ 8 w 158"/>
                <a:gd name="T43" fmla="*/ 64 h 158"/>
                <a:gd name="T44" fmla="*/ 0 w 158"/>
                <a:gd name="T45" fmla="*/ 74 h 158"/>
                <a:gd name="T46" fmla="*/ 0 w 158"/>
                <a:gd name="T47" fmla="*/ 84 h 158"/>
                <a:gd name="T48" fmla="*/ 8 w 158"/>
                <a:gd name="T49" fmla="*/ 94 h 158"/>
                <a:gd name="T50" fmla="*/ 22 w 158"/>
                <a:gd name="T51" fmla="*/ 98 h 158"/>
                <a:gd name="T52" fmla="*/ 26 w 158"/>
                <a:gd name="T53" fmla="*/ 106 h 158"/>
                <a:gd name="T54" fmla="*/ 18 w 158"/>
                <a:gd name="T55" fmla="*/ 118 h 158"/>
                <a:gd name="T56" fmla="*/ 20 w 158"/>
                <a:gd name="T57" fmla="*/ 131 h 158"/>
                <a:gd name="T58" fmla="*/ 27 w 158"/>
                <a:gd name="T59" fmla="*/ 138 h 158"/>
                <a:gd name="T60" fmla="*/ 40 w 158"/>
                <a:gd name="T61" fmla="*/ 140 h 158"/>
                <a:gd name="T62" fmla="*/ 52 w 158"/>
                <a:gd name="T63" fmla="*/ 133 h 158"/>
                <a:gd name="T64" fmla="*/ 61 w 158"/>
                <a:gd name="T65" fmla="*/ 136 h 158"/>
                <a:gd name="T66" fmla="*/ 64 w 158"/>
                <a:gd name="T67" fmla="*/ 150 h 158"/>
                <a:gd name="T68" fmla="*/ 74 w 158"/>
                <a:gd name="T69" fmla="*/ 158 h 158"/>
                <a:gd name="T70" fmla="*/ 84 w 158"/>
                <a:gd name="T71" fmla="*/ 158 h 158"/>
                <a:gd name="T72" fmla="*/ 95 w 158"/>
                <a:gd name="T73" fmla="*/ 150 h 158"/>
                <a:gd name="T74" fmla="*/ 98 w 158"/>
                <a:gd name="T75" fmla="*/ 136 h 158"/>
                <a:gd name="T76" fmla="*/ 107 w 158"/>
                <a:gd name="T77" fmla="*/ 133 h 158"/>
                <a:gd name="T78" fmla="*/ 119 w 158"/>
                <a:gd name="T79" fmla="*/ 140 h 158"/>
                <a:gd name="T80" fmla="*/ 132 w 158"/>
                <a:gd name="T81" fmla="*/ 138 h 158"/>
                <a:gd name="T82" fmla="*/ 139 w 158"/>
                <a:gd name="T83" fmla="*/ 131 h 158"/>
                <a:gd name="T84" fmla="*/ 141 w 158"/>
                <a:gd name="T85" fmla="*/ 118 h 158"/>
                <a:gd name="T86" fmla="*/ 133 w 158"/>
                <a:gd name="T87" fmla="*/ 106 h 158"/>
                <a:gd name="T88" fmla="*/ 137 w 158"/>
                <a:gd name="T89" fmla="*/ 98 h 158"/>
                <a:gd name="T90" fmla="*/ 151 w 158"/>
                <a:gd name="T91" fmla="*/ 94 h 158"/>
                <a:gd name="T92" fmla="*/ 158 w 158"/>
                <a:gd name="T93" fmla="*/ 84 h 158"/>
                <a:gd name="T94" fmla="*/ 158 w 158"/>
                <a:gd name="T95" fmla="*/ 74 h 158"/>
                <a:gd name="T96" fmla="*/ 151 w 158"/>
                <a:gd name="T97" fmla="*/ 64 h 158"/>
                <a:gd name="T98" fmla="*/ 79 w 158"/>
                <a:gd name="T99" fmla="*/ 127 h 158"/>
                <a:gd name="T100" fmla="*/ 32 w 158"/>
                <a:gd name="T101" fmla="*/ 79 h 158"/>
                <a:gd name="T102" fmla="*/ 79 w 158"/>
                <a:gd name="T103" fmla="*/ 31 h 158"/>
                <a:gd name="T104" fmla="*/ 127 w 158"/>
                <a:gd name="T105" fmla="*/ 79 h 158"/>
                <a:gd name="T106" fmla="*/ 79 w 158"/>
                <a:gd name="T107" fmla="*/ 12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8" h="158">
                  <a:moveTo>
                    <a:pt x="151" y="64"/>
                  </a:moveTo>
                  <a:cubicBezTo>
                    <a:pt x="137" y="60"/>
                    <a:pt x="137" y="60"/>
                    <a:pt x="137" y="60"/>
                  </a:cubicBezTo>
                  <a:cubicBezTo>
                    <a:pt x="136" y="57"/>
                    <a:pt x="135" y="54"/>
                    <a:pt x="133" y="51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3" y="35"/>
                    <a:pt x="142" y="30"/>
                    <a:pt x="139" y="26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3" y="15"/>
                    <a:pt x="119" y="18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3"/>
                    <a:pt x="101" y="22"/>
                    <a:pt x="98" y="21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3"/>
                    <a:pt x="89" y="0"/>
                    <a:pt x="8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0" y="0"/>
                    <a:pt x="66" y="3"/>
                    <a:pt x="64" y="7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8" y="22"/>
                    <a:pt x="55" y="23"/>
                    <a:pt x="52" y="25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6" y="15"/>
                    <a:pt x="30" y="16"/>
                    <a:pt x="27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7" y="30"/>
                    <a:pt x="16" y="35"/>
                    <a:pt x="18" y="39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4"/>
                    <a:pt x="23" y="57"/>
                    <a:pt x="22" y="60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5"/>
                    <a:pt x="0" y="69"/>
                    <a:pt x="0" y="7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8"/>
                    <a:pt x="4" y="93"/>
                    <a:pt x="8" y="94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100"/>
                    <a:pt x="24" y="103"/>
                    <a:pt x="26" y="106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6" y="122"/>
                    <a:pt x="17" y="128"/>
                    <a:pt x="20" y="13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41"/>
                    <a:pt x="36" y="142"/>
                    <a:pt x="40" y="140"/>
                  </a:cubicBezTo>
                  <a:cubicBezTo>
                    <a:pt x="52" y="133"/>
                    <a:pt x="52" y="133"/>
                    <a:pt x="52" y="133"/>
                  </a:cubicBezTo>
                  <a:cubicBezTo>
                    <a:pt x="55" y="134"/>
                    <a:pt x="58" y="135"/>
                    <a:pt x="61" y="136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6" y="154"/>
                    <a:pt x="70" y="158"/>
                    <a:pt x="74" y="158"/>
                  </a:cubicBezTo>
                  <a:cubicBezTo>
                    <a:pt x="84" y="158"/>
                    <a:pt x="84" y="158"/>
                    <a:pt x="84" y="158"/>
                  </a:cubicBezTo>
                  <a:cubicBezTo>
                    <a:pt x="89" y="158"/>
                    <a:pt x="93" y="154"/>
                    <a:pt x="95" y="150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1" y="135"/>
                    <a:pt x="104" y="134"/>
                    <a:pt x="107" y="133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3" y="142"/>
                    <a:pt x="129" y="141"/>
                    <a:pt x="132" y="138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42" y="128"/>
                    <a:pt x="143" y="122"/>
                    <a:pt x="141" y="118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5" y="103"/>
                    <a:pt x="136" y="100"/>
                    <a:pt x="137" y="98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5" y="93"/>
                    <a:pt x="158" y="88"/>
                    <a:pt x="158" y="8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69"/>
                    <a:pt x="155" y="65"/>
                    <a:pt x="151" y="64"/>
                  </a:cubicBezTo>
                  <a:close/>
                  <a:moveTo>
                    <a:pt x="79" y="127"/>
                  </a:moveTo>
                  <a:cubicBezTo>
                    <a:pt x="53" y="127"/>
                    <a:pt x="32" y="105"/>
                    <a:pt x="32" y="79"/>
                  </a:cubicBezTo>
                  <a:cubicBezTo>
                    <a:pt x="32" y="52"/>
                    <a:pt x="53" y="31"/>
                    <a:pt x="79" y="31"/>
                  </a:cubicBezTo>
                  <a:cubicBezTo>
                    <a:pt x="106" y="31"/>
                    <a:pt x="127" y="52"/>
                    <a:pt x="127" y="79"/>
                  </a:cubicBezTo>
                  <a:cubicBezTo>
                    <a:pt x="127" y="105"/>
                    <a:pt x="106" y="127"/>
                    <a:pt x="79" y="1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1BAE07D0-CABC-4038-9465-DEE60D9906C2}"/>
                </a:ext>
              </a:extLst>
            </p:cNvPr>
            <p:cNvSpPr/>
            <p:nvPr/>
          </p:nvSpPr>
          <p:spPr>
            <a:xfrm>
              <a:off x="604542" y="1977953"/>
              <a:ext cx="538458" cy="538458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02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BA70620-630F-CFCE-C9E7-60A897C9474F}"/>
              </a:ext>
            </a:extLst>
          </p:cNvPr>
          <p:cNvGrpSpPr/>
          <p:nvPr/>
        </p:nvGrpSpPr>
        <p:grpSpPr>
          <a:xfrm>
            <a:off x="550862" y="3419455"/>
            <a:ext cx="603372" cy="601760"/>
            <a:chOff x="454269" y="1828800"/>
            <a:chExt cx="839005" cy="836765"/>
          </a:xfrm>
        </p:grpSpPr>
        <p:sp>
          <p:nvSpPr>
            <p:cNvPr id="27" name="Freeform 48">
              <a:extLst>
                <a:ext uri="{FF2B5EF4-FFF2-40B4-BE49-F238E27FC236}">
                  <a16:creationId xmlns:a16="http://schemas.microsoft.com/office/drawing/2014/main" id="{1289C747-74AE-06AE-6DA4-6FD21C8EA3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269" y="1828800"/>
              <a:ext cx="839005" cy="836765"/>
            </a:xfrm>
            <a:custGeom>
              <a:avLst/>
              <a:gdLst>
                <a:gd name="T0" fmla="*/ 151 w 158"/>
                <a:gd name="T1" fmla="*/ 64 h 158"/>
                <a:gd name="T2" fmla="*/ 137 w 158"/>
                <a:gd name="T3" fmla="*/ 60 h 158"/>
                <a:gd name="T4" fmla="*/ 133 w 158"/>
                <a:gd name="T5" fmla="*/ 51 h 158"/>
                <a:gd name="T6" fmla="*/ 141 w 158"/>
                <a:gd name="T7" fmla="*/ 39 h 158"/>
                <a:gd name="T8" fmla="*/ 139 w 158"/>
                <a:gd name="T9" fmla="*/ 26 h 158"/>
                <a:gd name="T10" fmla="*/ 132 w 158"/>
                <a:gd name="T11" fmla="*/ 19 h 158"/>
                <a:gd name="T12" fmla="*/ 119 w 158"/>
                <a:gd name="T13" fmla="*/ 18 h 158"/>
                <a:gd name="T14" fmla="*/ 107 w 158"/>
                <a:gd name="T15" fmla="*/ 25 h 158"/>
                <a:gd name="T16" fmla="*/ 98 w 158"/>
                <a:gd name="T17" fmla="*/ 21 h 158"/>
                <a:gd name="T18" fmla="*/ 95 w 158"/>
                <a:gd name="T19" fmla="*/ 7 h 158"/>
                <a:gd name="T20" fmla="*/ 84 w 158"/>
                <a:gd name="T21" fmla="*/ 0 h 158"/>
                <a:gd name="T22" fmla="*/ 74 w 158"/>
                <a:gd name="T23" fmla="*/ 0 h 158"/>
                <a:gd name="T24" fmla="*/ 64 w 158"/>
                <a:gd name="T25" fmla="*/ 7 h 158"/>
                <a:gd name="T26" fmla="*/ 61 w 158"/>
                <a:gd name="T27" fmla="*/ 21 h 158"/>
                <a:gd name="T28" fmla="*/ 52 w 158"/>
                <a:gd name="T29" fmla="*/ 25 h 158"/>
                <a:gd name="T30" fmla="*/ 40 w 158"/>
                <a:gd name="T31" fmla="*/ 18 h 158"/>
                <a:gd name="T32" fmla="*/ 27 w 158"/>
                <a:gd name="T33" fmla="*/ 19 h 158"/>
                <a:gd name="T34" fmla="*/ 20 w 158"/>
                <a:gd name="T35" fmla="*/ 26 h 158"/>
                <a:gd name="T36" fmla="*/ 18 w 158"/>
                <a:gd name="T37" fmla="*/ 39 h 158"/>
                <a:gd name="T38" fmla="*/ 26 w 158"/>
                <a:gd name="T39" fmla="*/ 51 h 158"/>
                <a:gd name="T40" fmla="*/ 22 w 158"/>
                <a:gd name="T41" fmla="*/ 60 h 158"/>
                <a:gd name="T42" fmla="*/ 8 w 158"/>
                <a:gd name="T43" fmla="*/ 64 h 158"/>
                <a:gd name="T44" fmla="*/ 0 w 158"/>
                <a:gd name="T45" fmla="*/ 74 h 158"/>
                <a:gd name="T46" fmla="*/ 0 w 158"/>
                <a:gd name="T47" fmla="*/ 84 h 158"/>
                <a:gd name="T48" fmla="*/ 8 w 158"/>
                <a:gd name="T49" fmla="*/ 94 h 158"/>
                <a:gd name="T50" fmla="*/ 22 w 158"/>
                <a:gd name="T51" fmla="*/ 98 h 158"/>
                <a:gd name="T52" fmla="*/ 26 w 158"/>
                <a:gd name="T53" fmla="*/ 106 h 158"/>
                <a:gd name="T54" fmla="*/ 18 w 158"/>
                <a:gd name="T55" fmla="*/ 118 h 158"/>
                <a:gd name="T56" fmla="*/ 20 w 158"/>
                <a:gd name="T57" fmla="*/ 131 h 158"/>
                <a:gd name="T58" fmla="*/ 27 w 158"/>
                <a:gd name="T59" fmla="*/ 138 h 158"/>
                <a:gd name="T60" fmla="*/ 40 w 158"/>
                <a:gd name="T61" fmla="*/ 140 h 158"/>
                <a:gd name="T62" fmla="*/ 52 w 158"/>
                <a:gd name="T63" fmla="*/ 133 h 158"/>
                <a:gd name="T64" fmla="*/ 61 w 158"/>
                <a:gd name="T65" fmla="*/ 136 h 158"/>
                <a:gd name="T66" fmla="*/ 64 w 158"/>
                <a:gd name="T67" fmla="*/ 150 h 158"/>
                <a:gd name="T68" fmla="*/ 74 w 158"/>
                <a:gd name="T69" fmla="*/ 158 h 158"/>
                <a:gd name="T70" fmla="*/ 84 w 158"/>
                <a:gd name="T71" fmla="*/ 158 h 158"/>
                <a:gd name="T72" fmla="*/ 95 w 158"/>
                <a:gd name="T73" fmla="*/ 150 h 158"/>
                <a:gd name="T74" fmla="*/ 98 w 158"/>
                <a:gd name="T75" fmla="*/ 136 h 158"/>
                <a:gd name="T76" fmla="*/ 107 w 158"/>
                <a:gd name="T77" fmla="*/ 133 h 158"/>
                <a:gd name="T78" fmla="*/ 119 w 158"/>
                <a:gd name="T79" fmla="*/ 140 h 158"/>
                <a:gd name="T80" fmla="*/ 132 w 158"/>
                <a:gd name="T81" fmla="*/ 138 h 158"/>
                <a:gd name="T82" fmla="*/ 139 w 158"/>
                <a:gd name="T83" fmla="*/ 131 h 158"/>
                <a:gd name="T84" fmla="*/ 141 w 158"/>
                <a:gd name="T85" fmla="*/ 118 h 158"/>
                <a:gd name="T86" fmla="*/ 133 w 158"/>
                <a:gd name="T87" fmla="*/ 106 h 158"/>
                <a:gd name="T88" fmla="*/ 137 w 158"/>
                <a:gd name="T89" fmla="*/ 98 h 158"/>
                <a:gd name="T90" fmla="*/ 151 w 158"/>
                <a:gd name="T91" fmla="*/ 94 h 158"/>
                <a:gd name="T92" fmla="*/ 158 w 158"/>
                <a:gd name="T93" fmla="*/ 84 h 158"/>
                <a:gd name="T94" fmla="*/ 158 w 158"/>
                <a:gd name="T95" fmla="*/ 74 h 158"/>
                <a:gd name="T96" fmla="*/ 151 w 158"/>
                <a:gd name="T97" fmla="*/ 64 h 158"/>
                <a:gd name="T98" fmla="*/ 79 w 158"/>
                <a:gd name="T99" fmla="*/ 127 h 158"/>
                <a:gd name="T100" fmla="*/ 32 w 158"/>
                <a:gd name="T101" fmla="*/ 79 h 158"/>
                <a:gd name="T102" fmla="*/ 79 w 158"/>
                <a:gd name="T103" fmla="*/ 31 h 158"/>
                <a:gd name="T104" fmla="*/ 127 w 158"/>
                <a:gd name="T105" fmla="*/ 79 h 158"/>
                <a:gd name="T106" fmla="*/ 79 w 158"/>
                <a:gd name="T107" fmla="*/ 12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8" h="158">
                  <a:moveTo>
                    <a:pt x="151" y="64"/>
                  </a:moveTo>
                  <a:cubicBezTo>
                    <a:pt x="137" y="60"/>
                    <a:pt x="137" y="60"/>
                    <a:pt x="137" y="60"/>
                  </a:cubicBezTo>
                  <a:cubicBezTo>
                    <a:pt x="136" y="57"/>
                    <a:pt x="135" y="54"/>
                    <a:pt x="133" y="51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3" y="35"/>
                    <a:pt x="142" y="30"/>
                    <a:pt x="139" y="26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3" y="15"/>
                    <a:pt x="119" y="18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3"/>
                    <a:pt x="101" y="22"/>
                    <a:pt x="98" y="21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3"/>
                    <a:pt x="89" y="0"/>
                    <a:pt x="8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0" y="0"/>
                    <a:pt x="66" y="3"/>
                    <a:pt x="64" y="7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8" y="22"/>
                    <a:pt x="55" y="23"/>
                    <a:pt x="52" y="25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6" y="15"/>
                    <a:pt x="30" y="16"/>
                    <a:pt x="27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7" y="30"/>
                    <a:pt x="16" y="35"/>
                    <a:pt x="18" y="39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4"/>
                    <a:pt x="23" y="57"/>
                    <a:pt x="22" y="60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5"/>
                    <a:pt x="0" y="69"/>
                    <a:pt x="0" y="7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8"/>
                    <a:pt x="4" y="93"/>
                    <a:pt x="8" y="94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100"/>
                    <a:pt x="24" y="103"/>
                    <a:pt x="26" y="106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6" y="122"/>
                    <a:pt x="17" y="128"/>
                    <a:pt x="20" y="13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41"/>
                    <a:pt x="36" y="142"/>
                    <a:pt x="40" y="140"/>
                  </a:cubicBezTo>
                  <a:cubicBezTo>
                    <a:pt x="52" y="133"/>
                    <a:pt x="52" y="133"/>
                    <a:pt x="52" y="133"/>
                  </a:cubicBezTo>
                  <a:cubicBezTo>
                    <a:pt x="55" y="134"/>
                    <a:pt x="58" y="135"/>
                    <a:pt x="61" y="136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6" y="154"/>
                    <a:pt x="70" y="158"/>
                    <a:pt x="74" y="158"/>
                  </a:cubicBezTo>
                  <a:cubicBezTo>
                    <a:pt x="84" y="158"/>
                    <a:pt x="84" y="158"/>
                    <a:pt x="84" y="158"/>
                  </a:cubicBezTo>
                  <a:cubicBezTo>
                    <a:pt x="89" y="158"/>
                    <a:pt x="93" y="154"/>
                    <a:pt x="95" y="150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1" y="135"/>
                    <a:pt x="104" y="134"/>
                    <a:pt x="107" y="133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3" y="142"/>
                    <a:pt x="129" y="141"/>
                    <a:pt x="132" y="138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42" y="128"/>
                    <a:pt x="143" y="122"/>
                    <a:pt x="141" y="118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5" y="103"/>
                    <a:pt x="136" y="100"/>
                    <a:pt x="137" y="98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5" y="93"/>
                    <a:pt x="158" y="88"/>
                    <a:pt x="158" y="8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69"/>
                    <a:pt x="155" y="65"/>
                    <a:pt x="151" y="64"/>
                  </a:cubicBezTo>
                  <a:close/>
                  <a:moveTo>
                    <a:pt x="79" y="127"/>
                  </a:moveTo>
                  <a:cubicBezTo>
                    <a:pt x="53" y="127"/>
                    <a:pt x="32" y="105"/>
                    <a:pt x="32" y="79"/>
                  </a:cubicBezTo>
                  <a:cubicBezTo>
                    <a:pt x="32" y="52"/>
                    <a:pt x="53" y="31"/>
                    <a:pt x="79" y="31"/>
                  </a:cubicBezTo>
                  <a:cubicBezTo>
                    <a:pt x="106" y="31"/>
                    <a:pt x="127" y="52"/>
                    <a:pt x="127" y="79"/>
                  </a:cubicBezTo>
                  <a:cubicBezTo>
                    <a:pt x="127" y="105"/>
                    <a:pt x="106" y="127"/>
                    <a:pt x="79" y="1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9C24D9D-E088-3FDD-DEFD-574D34E92066}"/>
                </a:ext>
              </a:extLst>
            </p:cNvPr>
            <p:cNvSpPr/>
            <p:nvPr/>
          </p:nvSpPr>
          <p:spPr>
            <a:xfrm>
              <a:off x="604542" y="1977953"/>
              <a:ext cx="538458" cy="538458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03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18BAF9B-22D7-0724-79C4-262ECC1BC948}"/>
              </a:ext>
            </a:extLst>
          </p:cNvPr>
          <p:cNvGrpSpPr/>
          <p:nvPr/>
        </p:nvGrpSpPr>
        <p:grpSpPr>
          <a:xfrm>
            <a:off x="550862" y="4405225"/>
            <a:ext cx="603372" cy="601760"/>
            <a:chOff x="454269" y="1828800"/>
            <a:chExt cx="839005" cy="836765"/>
          </a:xfrm>
        </p:grpSpPr>
        <p:sp>
          <p:nvSpPr>
            <p:cNvPr id="30" name="Freeform 48">
              <a:extLst>
                <a:ext uri="{FF2B5EF4-FFF2-40B4-BE49-F238E27FC236}">
                  <a16:creationId xmlns:a16="http://schemas.microsoft.com/office/drawing/2014/main" id="{AD8E9DD7-348E-B7D5-A4CE-F7E3663E5C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269" y="1828800"/>
              <a:ext cx="839005" cy="836765"/>
            </a:xfrm>
            <a:custGeom>
              <a:avLst/>
              <a:gdLst>
                <a:gd name="T0" fmla="*/ 151 w 158"/>
                <a:gd name="T1" fmla="*/ 64 h 158"/>
                <a:gd name="T2" fmla="*/ 137 w 158"/>
                <a:gd name="T3" fmla="*/ 60 h 158"/>
                <a:gd name="T4" fmla="*/ 133 w 158"/>
                <a:gd name="T5" fmla="*/ 51 h 158"/>
                <a:gd name="T6" fmla="*/ 141 w 158"/>
                <a:gd name="T7" fmla="*/ 39 h 158"/>
                <a:gd name="T8" fmla="*/ 139 w 158"/>
                <a:gd name="T9" fmla="*/ 26 h 158"/>
                <a:gd name="T10" fmla="*/ 132 w 158"/>
                <a:gd name="T11" fmla="*/ 19 h 158"/>
                <a:gd name="T12" fmla="*/ 119 w 158"/>
                <a:gd name="T13" fmla="*/ 18 h 158"/>
                <a:gd name="T14" fmla="*/ 107 w 158"/>
                <a:gd name="T15" fmla="*/ 25 h 158"/>
                <a:gd name="T16" fmla="*/ 98 w 158"/>
                <a:gd name="T17" fmla="*/ 21 h 158"/>
                <a:gd name="T18" fmla="*/ 95 w 158"/>
                <a:gd name="T19" fmla="*/ 7 h 158"/>
                <a:gd name="T20" fmla="*/ 84 w 158"/>
                <a:gd name="T21" fmla="*/ 0 h 158"/>
                <a:gd name="T22" fmla="*/ 74 w 158"/>
                <a:gd name="T23" fmla="*/ 0 h 158"/>
                <a:gd name="T24" fmla="*/ 64 w 158"/>
                <a:gd name="T25" fmla="*/ 7 h 158"/>
                <a:gd name="T26" fmla="*/ 61 w 158"/>
                <a:gd name="T27" fmla="*/ 21 h 158"/>
                <a:gd name="T28" fmla="*/ 52 w 158"/>
                <a:gd name="T29" fmla="*/ 25 h 158"/>
                <a:gd name="T30" fmla="*/ 40 w 158"/>
                <a:gd name="T31" fmla="*/ 18 h 158"/>
                <a:gd name="T32" fmla="*/ 27 w 158"/>
                <a:gd name="T33" fmla="*/ 19 h 158"/>
                <a:gd name="T34" fmla="*/ 20 w 158"/>
                <a:gd name="T35" fmla="*/ 26 h 158"/>
                <a:gd name="T36" fmla="*/ 18 w 158"/>
                <a:gd name="T37" fmla="*/ 39 h 158"/>
                <a:gd name="T38" fmla="*/ 26 w 158"/>
                <a:gd name="T39" fmla="*/ 51 h 158"/>
                <a:gd name="T40" fmla="*/ 22 w 158"/>
                <a:gd name="T41" fmla="*/ 60 h 158"/>
                <a:gd name="T42" fmla="*/ 8 w 158"/>
                <a:gd name="T43" fmla="*/ 64 h 158"/>
                <a:gd name="T44" fmla="*/ 0 w 158"/>
                <a:gd name="T45" fmla="*/ 74 h 158"/>
                <a:gd name="T46" fmla="*/ 0 w 158"/>
                <a:gd name="T47" fmla="*/ 84 h 158"/>
                <a:gd name="T48" fmla="*/ 8 w 158"/>
                <a:gd name="T49" fmla="*/ 94 h 158"/>
                <a:gd name="T50" fmla="*/ 22 w 158"/>
                <a:gd name="T51" fmla="*/ 98 h 158"/>
                <a:gd name="T52" fmla="*/ 26 w 158"/>
                <a:gd name="T53" fmla="*/ 106 h 158"/>
                <a:gd name="T54" fmla="*/ 18 w 158"/>
                <a:gd name="T55" fmla="*/ 118 h 158"/>
                <a:gd name="T56" fmla="*/ 20 w 158"/>
                <a:gd name="T57" fmla="*/ 131 h 158"/>
                <a:gd name="T58" fmla="*/ 27 w 158"/>
                <a:gd name="T59" fmla="*/ 138 h 158"/>
                <a:gd name="T60" fmla="*/ 40 w 158"/>
                <a:gd name="T61" fmla="*/ 140 h 158"/>
                <a:gd name="T62" fmla="*/ 52 w 158"/>
                <a:gd name="T63" fmla="*/ 133 h 158"/>
                <a:gd name="T64" fmla="*/ 61 w 158"/>
                <a:gd name="T65" fmla="*/ 136 h 158"/>
                <a:gd name="T66" fmla="*/ 64 w 158"/>
                <a:gd name="T67" fmla="*/ 150 h 158"/>
                <a:gd name="T68" fmla="*/ 74 w 158"/>
                <a:gd name="T69" fmla="*/ 158 h 158"/>
                <a:gd name="T70" fmla="*/ 84 w 158"/>
                <a:gd name="T71" fmla="*/ 158 h 158"/>
                <a:gd name="T72" fmla="*/ 95 w 158"/>
                <a:gd name="T73" fmla="*/ 150 h 158"/>
                <a:gd name="T74" fmla="*/ 98 w 158"/>
                <a:gd name="T75" fmla="*/ 136 h 158"/>
                <a:gd name="T76" fmla="*/ 107 w 158"/>
                <a:gd name="T77" fmla="*/ 133 h 158"/>
                <a:gd name="T78" fmla="*/ 119 w 158"/>
                <a:gd name="T79" fmla="*/ 140 h 158"/>
                <a:gd name="T80" fmla="*/ 132 w 158"/>
                <a:gd name="T81" fmla="*/ 138 h 158"/>
                <a:gd name="T82" fmla="*/ 139 w 158"/>
                <a:gd name="T83" fmla="*/ 131 h 158"/>
                <a:gd name="T84" fmla="*/ 141 w 158"/>
                <a:gd name="T85" fmla="*/ 118 h 158"/>
                <a:gd name="T86" fmla="*/ 133 w 158"/>
                <a:gd name="T87" fmla="*/ 106 h 158"/>
                <a:gd name="T88" fmla="*/ 137 w 158"/>
                <a:gd name="T89" fmla="*/ 98 h 158"/>
                <a:gd name="T90" fmla="*/ 151 w 158"/>
                <a:gd name="T91" fmla="*/ 94 h 158"/>
                <a:gd name="T92" fmla="*/ 158 w 158"/>
                <a:gd name="T93" fmla="*/ 84 h 158"/>
                <a:gd name="T94" fmla="*/ 158 w 158"/>
                <a:gd name="T95" fmla="*/ 74 h 158"/>
                <a:gd name="T96" fmla="*/ 151 w 158"/>
                <a:gd name="T97" fmla="*/ 64 h 158"/>
                <a:gd name="T98" fmla="*/ 79 w 158"/>
                <a:gd name="T99" fmla="*/ 127 h 158"/>
                <a:gd name="T100" fmla="*/ 32 w 158"/>
                <a:gd name="T101" fmla="*/ 79 h 158"/>
                <a:gd name="T102" fmla="*/ 79 w 158"/>
                <a:gd name="T103" fmla="*/ 31 h 158"/>
                <a:gd name="T104" fmla="*/ 127 w 158"/>
                <a:gd name="T105" fmla="*/ 79 h 158"/>
                <a:gd name="T106" fmla="*/ 79 w 158"/>
                <a:gd name="T107" fmla="*/ 12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8" h="158">
                  <a:moveTo>
                    <a:pt x="151" y="64"/>
                  </a:moveTo>
                  <a:cubicBezTo>
                    <a:pt x="137" y="60"/>
                    <a:pt x="137" y="60"/>
                    <a:pt x="137" y="60"/>
                  </a:cubicBezTo>
                  <a:cubicBezTo>
                    <a:pt x="136" y="57"/>
                    <a:pt x="135" y="54"/>
                    <a:pt x="133" y="51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3" y="35"/>
                    <a:pt x="142" y="30"/>
                    <a:pt x="139" y="26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3" y="15"/>
                    <a:pt x="119" y="18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3"/>
                    <a:pt x="101" y="22"/>
                    <a:pt x="98" y="21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3"/>
                    <a:pt x="89" y="0"/>
                    <a:pt x="8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0" y="0"/>
                    <a:pt x="66" y="3"/>
                    <a:pt x="64" y="7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8" y="22"/>
                    <a:pt x="55" y="23"/>
                    <a:pt x="52" y="25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6" y="15"/>
                    <a:pt x="30" y="16"/>
                    <a:pt x="27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7" y="30"/>
                    <a:pt x="16" y="35"/>
                    <a:pt x="18" y="39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4"/>
                    <a:pt x="23" y="57"/>
                    <a:pt x="22" y="60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5"/>
                    <a:pt x="0" y="69"/>
                    <a:pt x="0" y="7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8"/>
                    <a:pt x="4" y="93"/>
                    <a:pt x="8" y="94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100"/>
                    <a:pt x="24" y="103"/>
                    <a:pt x="26" y="106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6" y="122"/>
                    <a:pt x="17" y="128"/>
                    <a:pt x="20" y="13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41"/>
                    <a:pt x="36" y="142"/>
                    <a:pt x="40" y="140"/>
                  </a:cubicBezTo>
                  <a:cubicBezTo>
                    <a:pt x="52" y="133"/>
                    <a:pt x="52" y="133"/>
                    <a:pt x="52" y="133"/>
                  </a:cubicBezTo>
                  <a:cubicBezTo>
                    <a:pt x="55" y="134"/>
                    <a:pt x="58" y="135"/>
                    <a:pt x="61" y="136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6" y="154"/>
                    <a:pt x="70" y="158"/>
                    <a:pt x="74" y="158"/>
                  </a:cubicBezTo>
                  <a:cubicBezTo>
                    <a:pt x="84" y="158"/>
                    <a:pt x="84" y="158"/>
                    <a:pt x="84" y="158"/>
                  </a:cubicBezTo>
                  <a:cubicBezTo>
                    <a:pt x="89" y="158"/>
                    <a:pt x="93" y="154"/>
                    <a:pt x="95" y="150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1" y="135"/>
                    <a:pt x="104" y="134"/>
                    <a:pt x="107" y="133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3" y="142"/>
                    <a:pt x="129" y="141"/>
                    <a:pt x="132" y="138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42" y="128"/>
                    <a:pt x="143" y="122"/>
                    <a:pt x="141" y="118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5" y="103"/>
                    <a:pt x="136" y="100"/>
                    <a:pt x="137" y="98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5" y="93"/>
                    <a:pt x="158" y="88"/>
                    <a:pt x="158" y="8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69"/>
                    <a:pt x="155" y="65"/>
                    <a:pt x="151" y="64"/>
                  </a:cubicBezTo>
                  <a:close/>
                  <a:moveTo>
                    <a:pt x="79" y="127"/>
                  </a:moveTo>
                  <a:cubicBezTo>
                    <a:pt x="53" y="127"/>
                    <a:pt x="32" y="105"/>
                    <a:pt x="32" y="79"/>
                  </a:cubicBezTo>
                  <a:cubicBezTo>
                    <a:pt x="32" y="52"/>
                    <a:pt x="53" y="31"/>
                    <a:pt x="79" y="31"/>
                  </a:cubicBezTo>
                  <a:cubicBezTo>
                    <a:pt x="106" y="31"/>
                    <a:pt x="127" y="52"/>
                    <a:pt x="127" y="79"/>
                  </a:cubicBezTo>
                  <a:cubicBezTo>
                    <a:pt x="127" y="105"/>
                    <a:pt x="106" y="127"/>
                    <a:pt x="79" y="1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61ACCF9-52E7-57FE-AA5B-4B222C9406E5}"/>
                </a:ext>
              </a:extLst>
            </p:cNvPr>
            <p:cNvSpPr/>
            <p:nvPr/>
          </p:nvSpPr>
          <p:spPr>
            <a:xfrm>
              <a:off x="604542" y="1977953"/>
              <a:ext cx="538458" cy="538458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04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8BE780D-1F86-8D4A-0A45-D8C104F0A1B8}"/>
              </a:ext>
            </a:extLst>
          </p:cNvPr>
          <p:cNvGrpSpPr/>
          <p:nvPr/>
        </p:nvGrpSpPr>
        <p:grpSpPr>
          <a:xfrm>
            <a:off x="550862" y="5390997"/>
            <a:ext cx="603372" cy="601760"/>
            <a:chOff x="454269" y="1828800"/>
            <a:chExt cx="839005" cy="836765"/>
          </a:xfrm>
        </p:grpSpPr>
        <p:sp>
          <p:nvSpPr>
            <p:cNvPr id="33" name="Freeform 48">
              <a:extLst>
                <a:ext uri="{FF2B5EF4-FFF2-40B4-BE49-F238E27FC236}">
                  <a16:creationId xmlns:a16="http://schemas.microsoft.com/office/drawing/2014/main" id="{DF3A3090-6886-6908-BEA3-AE50904FE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269" y="1828800"/>
              <a:ext cx="839005" cy="836765"/>
            </a:xfrm>
            <a:custGeom>
              <a:avLst/>
              <a:gdLst>
                <a:gd name="T0" fmla="*/ 151 w 158"/>
                <a:gd name="T1" fmla="*/ 64 h 158"/>
                <a:gd name="T2" fmla="*/ 137 w 158"/>
                <a:gd name="T3" fmla="*/ 60 h 158"/>
                <a:gd name="T4" fmla="*/ 133 w 158"/>
                <a:gd name="T5" fmla="*/ 51 h 158"/>
                <a:gd name="T6" fmla="*/ 141 w 158"/>
                <a:gd name="T7" fmla="*/ 39 h 158"/>
                <a:gd name="T8" fmla="*/ 139 w 158"/>
                <a:gd name="T9" fmla="*/ 26 h 158"/>
                <a:gd name="T10" fmla="*/ 132 w 158"/>
                <a:gd name="T11" fmla="*/ 19 h 158"/>
                <a:gd name="T12" fmla="*/ 119 w 158"/>
                <a:gd name="T13" fmla="*/ 18 h 158"/>
                <a:gd name="T14" fmla="*/ 107 w 158"/>
                <a:gd name="T15" fmla="*/ 25 h 158"/>
                <a:gd name="T16" fmla="*/ 98 w 158"/>
                <a:gd name="T17" fmla="*/ 21 h 158"/>
                <a:gd name="T18" fmla="*/ 95 w 158"/>
                <a:gd name="T19" fmla="*/ 7 h 158"/>
                <a:gd name="T20" fmla="*/ 84 w 158"/>
                <a:gd name="T21" fmla="*/ 0 h 158"/>
                <a:gd name="T22" fmla="*/ 74 w 158"/>
                <a:gd name="T23" fmla="*/ 0 h 158"/>
                <a:gd name="T24" fmla="*/ 64 w 158"/>
                <a:gd name="T25" fmla="*/ 7 h 158"/>
                <a:gd name="T26" fmla="*/ 61 w 158"/>
                <a:gd name="T27" fmla="*/ 21 h 158"/>
                <a:gd name="T28" fmla="*/ 52 w 158"/>
                <a:gd name="T29" fmla="*/ 25 h 158"/>
                <a:gd name="T30" fmla="*/ 40 w 158"/>
                <a:gd name="T31" fmla="*/ 18 h 158"/>
                <a:gd name="T32" fmla="*/ 27 w 158"/>
                <a:gd name="T33" fmla="*/ 19 h 158"/>
                <a:gd name="T34" fmla="*/ 20 w 158"/>
                <a:gd name="T35" fmla="*/ 26 h 158"/>
                <a:gd name="T36" fmla="*/ 18 w 158"/>
                <a:gd name="T37" fmla="*/ 39 h 158"/>
                <a:gd name="T38" fmla="*/ 26 w 158"/>
                <a:gd name="T39" fmla="*/ 51 h 158"/>
                <a:gd name="T40" fmla="*/ 22 w 158"/>
                <a:gd name="T41" fmla="*/ 60 h 158"/>
                <a:gd name="T42" fmla="*/ 8 w 158"/>
                <a:gd name="T43" fmla="*/ 64 h 158"/>
                <a:gd name="T44" fmla="*/ 0 w 158"/>
                <a:gd name="T45" fmla="*/ 74 h 158"/>
                <a:gd name="T46" fmla="*/ 0 w 158"/>
                <a:gd name="T47" fmla="*/ 84 h 158"/>
                <a:gd name="T48" fmla="*/ 8 w 158"/>
                <a:gd name="T49" fmla="*/ 94 h 158"/>
                <a:gd name="T50" fmla="*/ 22 w 158"/>
                <a:gd name="T51" fmla="*/ 98 h 158"/>
                <a:gd name="T52" fmla="*/ 26 w 158"/>
                <a:gd name="T53" fmla="*/ 106 h 158"/>
                <a:gd name="T54" fmla="*/ 18 w 158"/>
                <a:gd name="T55" fmla="*/ 118 h 158"/>
                <a:gd name="T56" fmla="*/ 20 w 158"/>
                <a:gd name="T57" fmla="*/ 131 h 158"/>
                <a:gd name="T58" fmla="*/ 27 w 158"/>
                <a:gd name="T59" fmla="*/ 138 h 158"/>
                <a:gd name="T60" fmla="*/ 40 w 158"/>
                <a:gd name="T61" fmla="*/ 140 h 158"/>
                <a:gd name="T62" fmla="*/ 52 w 158"/>
                <a:gd name="T63" fmla="*/ 133 h 158"/>
                <a:gd name="T64" fmla="*/ 61 w 158"/>
                <a:gd name="T65" fmla="*/ 136 h 158"/>
                <a:gd name="T66" fmla="*/ 64 w 158"/>
                <a:gd name="T67" fmla="*/ 150 h 158"/>
                <a:gd name="T68" fmla="*/ 74 w 158"/>
                <a:gd name="T69" fmla="*/ 158 h 158"/>
                <a:gd name="T70" fmla="*/ 84 w 158"/>
                <a:gd name="T71" fmla="*/ 158 h 158"/>
                <a:gd name="T72" fmla="*/ 95 w 158"/>
                <a:gd name="T73" fmla="*/ 150 h 158"/>
                <a:gd name="T74" fmla="*/ 98 w 158"/>
                <a:gd name="T75" fmla="*/ 136 h 158"/>
                <a:gd name="T76" fmla="*/ 107 w 158"/>
                <a:gd name="T77" fmla="*/ 133 h 158"/>
                <a:gd name="T78" fmla="*/ 119 w 158"/>
                <a:gd name="T79" fmla="*/ 140 h 158"/>
                <a:gd name="T80" fmla="*/ 132 w 158"/>
                <a:gd name="T81" fmla="*/ 138 h 158"/>
                <a:gd name="T82" fmla="*/ 139 w 158"/>
                <a:gd name="T83" fmla="*/ 131 h 158"/>
                <a:gd name="T84" fmla="*/ 141 w 158"/>
                <a:gd name="T85" fmla="*/ 118 h 158"/>
                <a:gd name="T86" fmla="*/ 133 w 158"/>
                <a:gd name="T87" fmla="*/ 106 h 158"/>
                <a:gd name="T88" fmla="*/ 137 w 158"/>
                <a:gd name="T89" fmla="*/ 98 h 158"/>
                <a:gd name="T90" fmla="*/ 151 w 158"/>
                <a:gd name="T91" fmla="*/ 94 h 158"/>
                <a:gd name="T92" fmla="*/ 158 w 158"/>
                <a:gd name="T93" fmla="*/ 84 h 158"/>
                <a:gd name="T94" fmla="*/ 158 w 158"/>
                <a:gd name="T95" fmla="*/ 74 h 158"/>
                <a:gd name="T96" fmla="*/ 151 w 158"/>
                <a:gd name="T97" fmla="*/ 64 h 158"/>
                <a:gd name="T98" fmla="*/ 79 w 158"/>
                <a:gd name="T99" fmla="*/ 127 h 158"/>
                <a:gd name="T100" fmla="*/ 32 w 158"/>
                <a:gd name="T101" fmla="*/ 79 h 158"/>
                <a:gd name="T102" fmla="*/ 79 w 158"/>
                <a:gd name="T103" fmla="*/ 31 h 158"/>
                <a:gd name="T104" fmla="*/ 127 w 158"/>
                <a:gd name="T105" fmla="*/ 79 h 158"/>
                <a:gd name="T106" fmla="*/ 79 w 158"/>
                <a:gd name="T107" fmla="*/ 12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8" h="158">
                  <a:moveTo>
                    <a:pt x="151" y="64"/>
                  </a:moveTo>
                  <a:cubicBezTo>
                    <a:pt x="137" y="60"/>
                    <a:pt x="137" y="60"/>
                    <a:pt x="137" y="60"/>
                  </a:cubicBezTo>
                  <a:cubicBezTo>
                    <a:pt x="136" y="57"/>
                    <a:pt x="135" y="54"/>
                    <a:pt x="133" y="51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3" y="35"/>
                    <a:pt x="142" y="30"/>
                    <a:pt x="139" y="26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3" y="15"/>
                    <a:pt x="119" y="18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3"/>
                    <a:pt x="101" y="22"/>
                    <a:pt x="98" y="21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3"/>
                    <a:pt x="89" y="0"/>
                    <a:pt x="8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0" y="0"/>
                    <a:pt x="66" y="3"/>
                    <a:pt x="64" y="7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8" y="22"/>
                    <a:pt x="55" y="23"/>
                    <a:pt x="52" y="25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6" y="15"/>
                    <a:pt x="30" y="16"/>
                    <a:pt x="27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7" y="30"/>
                    <a:pt x="16" y="35"/>
                    <a:pt x="18" y="39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4"/>
                    <a:pt x="23" y="57"/>
                    <a:pt x="22" y="60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4" y="65"/>
                    <a:pt x="0" y="69"/>
                    <a:pt x="0" y="7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8"/>
                    <a:pt x="4" y="93"/>
                    <a:pt x="8" y="94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100"/>
                    <a:pt x="24" y="103"/>
                    <a:pt x="26" y="106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6" y="122"/>
                    <a:pt x="17" y="128"/>
                    <a:pt x="20" y="13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41"/>
                    <a:pt x="36" y="142"/>
                    <a:pt x="40" y="140"/>
                  </a:cubicBezTo>
                  <a:cubicBezTo>
                    <a:pt x="52" y="133"/>
                    <a:pt x="52" y="133"/>
                    <a:pt x="52" y="133"/>
                  </a:cubicBezTo>
                  <a:cubicBezTo>
                    <a:pt x="55" y="134"/>
                    <a:pt x="58" y="135"/>
                    <a:pt x="61" y="136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6" y="154"/>
                    <a:pt x="70" y="158"/>
                    <a:pt x="74" y="158"/>
                  </a:cubicBezTo>
                  <a:cubicBezTo>
                    <a:pt x="84" y="158"/>
                    <a:pt x="84" y="158"/>
                    <a:pt x="84" y="158"/>
                  </a:cubicBezTo>
                  <a:cubicBezTo>
                    <a:pt x="89" y="158"/>
                    <a:pt x="93" y="154"/>
                    <a:pt x="95" y="150"/>
                  </a:cubicBezTo>
                  <a:cubicBezTo>
                    <a:pt x="98" y="136"/>
                    <a:pt x="98" y="136"/>
                    <a:pt x="98" y="136"/>
                  </a:cubicBezTo>
                  <a:cubicBezTo>
                    <a:pt x="101" y="135"/>
                    <a:pt x="104" y="134"/>
                    <a:pt x="107" y="133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3" y="142"/>
                    <a:pt x="129" y="141"/>
                    <a:pt x="132" y="138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42" y="128"/>
                    <a:pt x="143" y="122"/>
                    <a:pt x="141" y="118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5" y="103"/>
                    <a:pt x="136" y="100"/>
                    <a:pt x="137" y="98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5" y="93"/>
                    <a:pt x="158" y="88"/>
                    <a:pt x="158" y="8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69"/>
                    <a:pt x="155" y="65"/>
                    <a:pt x="151" y="64"/>
                  </a:cubicBezTo>
                  <a:close/>
                  <a:moveTo>
                    <a:pt x="79" y="127"/>
                  </a:moveTo>
                  <a:cubicBezTo>
                    <a:pt x="53" y="127"/>
                    <a:pt x="32" y="105"/>
                    <a:pt x="32" y="79"/>
                  </a:cubicBezTo>
                  <a:cubicBezTo>
                    <a:pt x="32" y="52"/>
                    <a:pt x="53" y="31"/>
                    <a:pt x="79" y="31"/>
                  </a:cubicBezTo>
                  <a:cubicBezTo>
                    <a:pt x="106" y="31"/>
                    <a:pt x="127" y="52"/>
                    <a:pt x="127" y="79"/>
                  </a:cubicBezTo>
                  <a:cubicBezTo>
                    <a:pt x="127" y="105"/>
                    <a:pt x="106" y="127"/>
                    <a:pt x="79" y="1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902AF76-BB52-9796-71D5-F8EFFCE56800}"/>
                </a:ext>
              </a:extLst>
            </p:cNvPr>
            <p:cNvSpPr/>
            <p:nvPr/>
          </p:nvSpPr>
          <p:spPr>
            <a:xfrm>
              <a:off x="604542" y="1977953"/>
              <a:ext cx="538458" cy="538458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0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2661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3</TotalTime>
  <Words>27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09</cp:revision>
  <dcterms:created xsi:type="dcterms:W3CDTF">2021-03-31T02:49:57Z</dcterms:created>
  <dcterms:modified xsi:type="dcterms:W3CDTF">2025-10-15T08:36:27Z</dcterms:modified>
  <cp:category/>
</cp:coreProperties>
</file>